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82" d="100"/>
          <a:sy n="82" d="100"/>
        </p:scale>
        <p:origin x="1699" y="72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2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2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lang="pt-BR" dirty="1" kumimoji="0" sz="14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MS PGothic" pitchFamily="34" charset="-128"/>
                <a:cs typeface="+mn-cs"/>
              </a:rPr>
              <a:t>VALOR E VANTAGEN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lang="pt-BR" dirty="1" kumimoji="0" sz="1400" b="1" i="0" u="none" strike="noStrike" cap="none" normalizeH="0" baseline="0" noProof="1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 charset="0"/>
                <a:ea typeface="+mn-ea"/>
                <a:cs typeface="Arial" charset="0"/>
              </a:rPr>
              <a:t>DESCRIÇÃO</a:t>
            </a: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pt-BR" dirty="1"/>
              <a:t>Previna paradas por falta de peça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pt-BR" dirty="1"/>
              <a:t>PACDRIVE 3 LMC300 ELAU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or:</a:t>
            </a: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bsolescênc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amento:</a:t>
            </a: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ollquattr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ódigo do catálogo:</a:t>
            </a: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lang="pt-BR" dirty="1" kumimoji="0" sz="800" b="0" i="0" u="none" strike="noStrike" cap="none" normalizeH="0" baseline="0" noProof="0">
                <a:ln>
                  <a:noFill/>
                </a:ln>
                <a:solidFill>
                  <a:srgbClr val="000000"/>
                </a:solidFill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CL001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dirty="1" sz="1200" b="1">
                <a:solidFill>
                  <a:srgbClr val="E64B00"/>
                </a:solidFill>
              </a:rPr>
              <a:t>Solução mais segura com componente novo disponível no mercado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dirty="1" sz="1200" b="1">
                <a:solidFill>
                  <a:srgbClr val="E64B00"/>
                </a:solidFill>
              </a:rPr>
              <a:t>Previne longas paradas em caso de falha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A produção de ELAU MAX-4/C 600/C 400 e MC-4, instalados em diversas rotuladoras, foi descontinuada pelo fabricante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Risco iminente de indisponibilidade de peça de reposição.</a:t>
            </a:r>
          </a:p>
          <a:p>
            <a:pPr marL="479822" lvl="1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dirty="1" sz="1200">
                <a:solidFill>
                  <a:srgbClr val="000000"/>
                </a:solidFill>
              </a:rPr>
              <a:t>Risco de parada prolongada de equipamentos em fábricas de envase.</a:t>
            </a:r>
          </a:p>
          <a:p>
            <a:pPr marL="136922" indent="-136922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pt-BR" dirty="1" b="1" sz="1200">
                <a:solidFill>
                  <a:srgbClr val="E64B00"/>
                </a:solidFill>
              </a:rPr>
              <a:t>Função de controle Ethernet IP adicional </a:t>
            </a:r>
            <a:r>
              <a:rPr lang="pt-BR" dirty="1" sz="1200">
                <a:solidFill>
                  <a:srgbClr val="000000"/>
                </a:solidFill>
              </a:rPr>
              <a:t>para o conversor de frequência (em comparação com as versões com Devicenet para o mercado US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436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dirty="1" sz="1200">
                <a:solidFill>
                  <a:srgbClr val="000000"/>
                </a:solidFill>
              </a:rPr>
              <a:t>Novo sistema com </a:t>
            </a:r>
            <a:r>
              <a:rPr lang="pt-BR" dirty="1" sz="1200"/>
              <a:t>PACDRIVE 3 LMC300</a:t>
            </a:r>
            <a:r>
              <a:rPr lang="pt-BR" dirty="1" sz="1200">
                <a:solidFill>
                  <a:srgbClr val="000000"/>
                </a:solidFill>
              </a:rPr>
              <a:t>: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dirty="1" sz="1200">
                <a:solidFill>
                  <a:srgbClr val="000000"/>
                </a:solidFill>
              </a:rPr>
              <a:t>O novo sistema consiste de um controlador </a:t>
            </a:r>
            <a:r>
              <a:rPr lang="pt-BR" dirty="1" sz="1200"/>
              <a:t>PACDRIVE 3LMC300 </a:t>
            </a:r>
            <a:r>
              <a:rPr lang="pt-BR" dirty="1" sz="1200">
                <a:solidFill>
                  <a:srgbClr val="000000"/>
                </a:solidFill>
              </a:rPr>
              <a:t>com servocomando LXM62.</a:t>
            </a:r>
            <a:r>
              <a:rPr lang="pt-BR" dirty="1" sz="1200">
                <a:solidFill>
                  <a:srgbClr val="000000"/>
                </a:solidFill>
              </a:rPr>
              <a:t> </a:t>
            </a:r>
          </a:p>
          <a:p>
            <a:pPr marL="479822" lvl="2" indent="-136922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pt-BR" dirty="1" sz="1200">
                <a:solidFill>
                  <a:srgbClr val="000000"/>
                </a:solidFill>
              </a:rPr>
              <a:t>Funciona com motores SH Elau, que também serão incluídos em O&amp;U, se necessário (a fim de substituir o modelo SM obsoleto).</a:t>
            </a:r>
          </a:p>
        </p:txBody>
      </p:sp>
      <p:pic>
        <p:nvPicPr>
          <p:cNvPr id="17" name="Immagine 16" descr="Immagine che contiene computer&#10;&#10;Descrizione generata automaticamente">
            <a:extLst>
              <a:ext uri="{FF2B5EF4-FFF2-40B4-BE49-F238E27FC236}">
                <a16:creationId xmlns:a16="http://schemas.microsoft.com/office/drawing/2014/main" id="{C71DD28B-7F8E-4DF3-9D39-675053A8A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0283" y="4144566"/>
            <a:ext cx="1407319" cy="1407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A741A42B-B3D9-4023-933F-1E395DB6C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757" y="4044553"/>
            <a:ext cx="1607344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ACB42E5-1AE4-4325-9E1C-18C0EA388853}"/>
</file>

<file path=customXml/itemProps2.xml><?xml version="1.0" encoding="utf-8"?>
<ds:datastoreItem xmlns:ds="http://schemas.openxmlformats.org/officeDocument/2006/customXml" ds:itemID="{DCABD71C-AC97-41E8-9CE8-7EB58448E2DB}"/>
</file>

<file path=customXml/itemProps3.xml><?xml version="1.0" encoding="utf-8"?>
<ds:datastoreItem xmlns:ds="http://schemas.openxmlformats.org/officeDocument/2006/customXml" ds:itemID="{8E76DA30-6C82-4BA9-A4B8-655FD901DE7B}"/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61</TotalTime>
  <Words>148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1</cp:revision>
  <dcterms:created xsi:type="dcterms:W3CDTF">2019-02-20T10:39:16Z</dcterms:created>
  <dcterms:modified xsi:type="dcterms:W3CDTF">2020-03-12T13:0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